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7" r:id="rId3"/>
    <p:sldMasterId id="2147483671" r:id="rId4"/>
  </p:sldMasterIdLst>
  <p:sldIdLst>
    <p:sldId id="256" r:id="rId5"/>
    <p:sldId id="546" r:id="rId6"/>
    <p:sldId id="545" r:id="rId7"/>
    <p:sldId id="538" r:id="rId8"/>
    <p:sldId id="539" r:id="rId9"/>
    <p:sldId id="540" r:id="rId10"/>
    <p:sldId id="541" r:id="rId11"/>
    <p:sldId id="542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24" autoAdjust="0"/>
    <p:restoredTop sz="94660"/>
  </p:normalViewPr>
  <p:slideViewPr>
    <p:cSldViewPr>
      <p:cViewPr varScale="1">
        <p:scale>
          <a:sx n="70" d="100"/>
          <a:sy n="70" d="100"/>
        </p:scale>
        <p:origin x="810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" name="Image" r:id="rId3" imgW="12990476" imgH="9739683" progId="">
                  <p:embed/>
                </p:oleObj>
              </mc:Choice>
              <mc:Fallback>
                <p:oleObj name="Image" r:id="rId3" imgW="12990476" imgH="9739683" progId="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8051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3" name="Image" r:id="rId3" imgW="12990476" imgH="9739683" progId="Photoshop.Image.11">
                  <p:embed/>
                </p:oleObj>
              </mc:Choice>
              <mc:Fallback>
                <p:oleObj name="Image" r:id="rId3" imgW="12990476" imgH="9739683" progId="Photoshop.Image.11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2123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26/03/201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lumMod val="95000"/>
                  </a:prstClr>
                </a:solidFill>
              </a:rPr>
              <a:t>Ashok Leyland</a:t>
            </a:r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3461E-5807-447B-B34C-202A61E0D7E3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379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152400"/>
            <a:ext cx="9753600" cy="7921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58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0" name="Image" r:id="rId3" imgW="12990476" imgH="9739683" progId="Photoshop.Image.11">
                  <p:embed/>
                </p:oleObj>
              </mc:Choice>
              <mc:Fallback>
                <p:oleObj name="Image" r:id="rId3" imgW="12990476" imgH="9739683" progId="Photoshop.Image.11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0294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/03/201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hok Leyla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03461E-5807-447B-B34C-202A61E0D7E3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76826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152400"/>
            <a:ext cx="9753600" cy="7921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554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1" name="Image" r:id="rId3" imgW="12990476" imgH="9739683" progId="Photoshop.Image.11">
                  <p:embed/>
                </p:oleObj>
              </mc:Choice>
              <mc:Fallback>
                <p:oleObj name="Image" r:id="rId3" imgW="12990476" imgH="9739683" progId="Photoshop.Image.11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3156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/03/201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hok Leyla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03461E-5807-447B-B34C-202A61E0D7E3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43340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152400"/>
            <a:ext cx="9753600" cy="7921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3846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oleObject" Target="../embeddings/oleObject2.bin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2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3.x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4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4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27346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6" name="Object 9"/>
          <p:cNvGraphicFramePr>
            <a:graphicFrameLocks noChangeAspect="1"/>
          </p:cNvGraphicFramePr>
          <p:nvPr/>
        </p:nvGraphicFramePr>
        <p:xfrm>
          <a:off x="9753600" y="5030788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7" name="Image" r:id="rId7" imgW="12990476" imgH="9739683" progId="">
                  <p:embed/>
                </p:oleObj>
              </mc:Choice>
              <mc:Fallback>
                <p:oleObj name="Image" r:id="rId7" imgW="12990476" imgH="9739683" progId="">
                  <p:embed/>
                  <p:pic>
                    <p:nvPicPr>
                      <p:cNvPr id="1026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5030788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BBE0E3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800" y="304800"/>
            <a:ext cx="78232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20800" y="1371600"/>
            <a:ext cx="90424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pic>
        <p:nvPicPr>
          <p:cNvPr id="1031" name="Picture 8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203200" y="6416676"/>
            <a:ext cx="508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6741851-F51D-4D64-8E52-9B894B4622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41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273761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309563"/>
            <a:ext cx="9753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447801"/>
            <a:ext cx="9753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" y="6553200"/>
            <a:ext cx="121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26/03/201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537326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>
                    <a:lumMod val="9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lumMod val="95000"/>
                  </a:prstClr>
                </a:solidFill>
              </a:rPr>
              <a:t>Ashok Leyland</a:t>
            </a:r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  <p:grpSp>
        <p:nvGrpSpPr>
          <p:cNvPr id="1030" name="Group 7"/>
          <p:cNvGrpSpPr>
            <a:grpSpLocks/>
          </p:cNvGrpSpPr>
          <p:nvPr/>
        </p:nvGrpSpPr>
        <p:grpSpPr bwMode="auto">
          <a:xfrm>
            <a:off x="0" y="228600"/>
            <a:ext cx="12192000" cy="901700"/>
            <a:chOff x="0" y="228600"/>
            <a:chExt cx="9144000" cy="901700"/>
          </a:xfrm>
        </p:grpSpPr>
        <p:sp>
          <p:nvSpPr>
            <p:cNvPr id="1033" name="Line 11"/>
            <p:cNvSpPr>
              <a:spLocks noChangeShapeType="1"/>
            </p:cNvSpPr>
            <p:nvPr/>
          </p:nvSpPr>
          <p:spPr bwMode="auto">
            <a:xfrm>
              <a:off x="0" y="1130300"/>
              <a:ext cx="9144000" cy="0"/>
            </a:xfrm>
            <a:prstGeom prst="line">
              <a:avLst/>
            </a:prstGeom>
            <a:noFill/>
            <a:ln w="762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pic>
          <p:nvPicPr>
            <p:cNvPr id="1034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28600"/>
              <a:ext cx="198120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53732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7DEB7D41-1B34-40F2-B097-CD29A21F5FC6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360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309563"/>
            <a:ext cx="9753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447801"/>
            <a:ext cx="9753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" y="6553200"/>
            <a:ext cx="121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/03/201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537326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>
                    <a:lumMod val="95000"/>
                  </a:schemeClr>
                </a:solidFill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hok Leyla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30" name="Group 7"/>
          <p:cNvGrpSpPr>
            <a:grpSpLocks/>
          </p:cNvGrpSpPr>
          <p:nvPr/>
        </p:nvGrpSpPr>
        <p:grpSpPr bwMode="auto">
          <a:xfrm>
            <a:off x="0" y="228600"/>
            <a:ext cx="12192000" cy="901700"/>
            <a:chOff x="0" y="228600"/>
            <a:chExt cx="9144000" cy="901700"/>
          </a:xfrm>
        </p:grpSpPr>
        <p:sp>
          <p:nvSpPr>
            <p:cNvPr id="1033" name="Line 11"/>
            <p:cNvSpPr>
              <a:spLocks noChangeShapeType="1"/>
            </p:cNvSpPr>
            <p:nvPr/>
          </p:nvSpPr>
          <p:spPr bwMode="auto">
            <a:xfrm>
              <a:off x="0" y="1130300"/>
              <a:ext cx="9144000" cy="0"/>
            </a:xfrm>
            <a:prstGeom prst="line">
              <a:avLst/>
            </a:prstGeom>
            <a:noFill/>
            <a:ln w="762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34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28600"/>
              <a:ext cx="198120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53732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B7D41-1B34-40F2-B097-CD29A21F5FC6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63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309563"/>
            <a:ext cx="9753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447801"/>
            <a:ext cx="9753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" y="6553200"/>
            <a:ext cx="121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/03/201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537326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>
                    <a:lumMod val="95000"/>
                  </a:schemeClr>
                </a:solidFill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hok Leyla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30" name="Group 7"/>
          <p:cNvGrpSpPr>
            <a:grpSpLocks/>
          </p:cNvGrpSpPr>
          <p:nvPr/>
        </p:nvGrpSpPr>
        <p:grpSpPr bwMode="auto">
          <a:xfrm>
            <a:off x="0" y="228600"/>
            <a:ext cx="12192000" cy="901700"/>
            <a:chOff x="0" y="228600"/>
            <a:chExt cx="9144000" cy="901700"/>
          </a:xfrm>
        </p:grpSpPr>
        <p:sp>
          <p:nvSpPr>
            <p:cNvPr id="1033" name="Line 11"/>
            <p:cNvSpPr>
              <a:spLocks noChangeShapeType="1"/>
            </p:cNvSpPr>
            <p:nvPr/>
          </p:nvSpPr>
          <p:spPr bwMode="auto">
            <a:xfrm>
              <a:off x="0" y="1130300"/>
              <a:ext cx="9144000" cy="0"/>
            </a:xfrm>
            <a:prstGeom prst="line">
              <a:avLst/>
            </a:prstGeom>
            <a:noFill/>
            <a:ln w="762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34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28600"/>
              <a:ext cx="198120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53732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B7D41-1B34-40F2-B097-CD29A21F5FC6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6559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362200" y="2895600"/>
            <a:ext cx="7772400" cy="1806714"/>
          </a:xfrm>
        </p:spPr>
        <p:txBody>
          <a:bodyPr/>
          <a:lstStyle/>
          <a:p>
            <a:r>
              <a:rPr lang="en-US" dirty="0"/>
              <a:t>Business Review </a:t>
            </a:r>
            <a:br>
              <a:rPr lang="en-US" dirty="0"/>
            </a:br>
            <a:r>
              <a:rPr lang="en-US" dirty="0"/>
              <a:t>AO – </a:t>
            </a:r>
            <a:r>
              <a:rPr lang="en-US" dirty="0" smtClean="0"/>
              <a:t>CHENNAI</a:t>
            </a:r>
            <a:br>
              <a:rPr lang="en-US" dirty="0" smtClean="0"/>
            </a:br>
            <a:r>
              <a:rPr lang="en-US" dirty="0" smtClean="0"/>
              <a:t>Feb’ 23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07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 bwMode="auto">
          <a:xfrm>
            <a:off x="228600" y="152400"/>
            <a:ext cx="63246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onth Sales – </a:t>
            </a:r>
            <a:r>
              <a:rPr lang="en-US" sz="2800" kern="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ftak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F65C16B-5BD8-4C6C-86AA-C324111EB9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34406079"/>
              </p:ext>
            </p:extLst>
          </p:nvPr>
        </p:nvGraphicFramePr>
        <p:xfrm>
          <a:off x="258763" y="1295400"/>
          <a:ext cx="11704637" cy="5410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65" name="Worksheet" r:id="rId3" imgW="11687297" imgH="5486400" progId="Excel.Sheet.12">
                  <p:embed/>
                </p:oleObj>
              </mc:Choice>
              <mc:Fallback>
                <p:oleObj name="Worksheet" r:id="rId3" imgW="11687297" imgH="54864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F65C16B-5BD8-4C6C-86AA-C324111E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58763" y="1295400"/>
                        <a:ext cx="11704637" cy="5410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429403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 bwMode="auto">
          <a:xfrm>
            <a:off x="228600" y="152400"/>
            <a:ext cx="63246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th Sales – Retail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F65C16B-5BD8-4C6C-86AA-C324111EB9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17626327"/>
              </p:ext>
            </p:extLst>
          </p:nvPr>
        </p:nvGraphicFramePr>
        <p:xfrm>
          <a:off x="258762" y="1295401"/>
          <a:ext cx="11704638" cy="5410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31" name="Worksheet" r:id="rId3" imgW="11687297" imgH="5486400" progId="Excel.Sheet.12">
                  <p:embed/>
                </p:oleObj>
              </mc:Choice>
              <mc:Fallback>
                <p:oleObj name="Worksheet" r:id="rId3" imgW="11687297" imgH="54864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F65C16B-5BD8-4C6C-86AA-C324111E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58762" y="1295401"/>
                        <a:ext cx="11704638" cy="5410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258849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 Goods</a:t>
            </a: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5712252"/>
              </p:ext>
            </p:extLst>
          </p:nvPr>
        </p:nvGraphicFramePr>
        <p:xfrm>
          <a:off x="381000" y="1447800"/>
          <a:ext cx="11506200" cy="5181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11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1000" y="1447800"/>
                        <a:ext cx="11506200" cy="5181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35780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0T</a:t>
            </a: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86900108"/>
              </p:ext>
            </p:extLst>
          </p:nvPr>
        </p:nvGraphicFramePr>
        <p:xfrm>
          <a:off x="340568" y="1371600"/>
          <a:ext cx="11546632" cy="525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3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40568" y="1371600"/>
                        <a:ext cx="11546632" cy="5257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98749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5240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2T</a:t>
            </a: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1321423"/>
              </p:ext>
            </p:extLst>
          </p:nvPr>
        </p:nvGraphicFramePr>
        <p:xfrm>
          <a:off x="340568" y="1371600"/>
          <a:ext cx="11622832" cy="525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58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7" name="Object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40568" y="1371600"/>
                        <a:ext cx="11622832" cy="5257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99920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5T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2474371"/>
              </p:ext>
            </p:extLst>
          </p:nvPr>
        </p:nvGraphicFramePr>
        <p:xfrm>
          <a:off x="457201" y="1447800"/>
          <a:ext cx="11353800" cy="5105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83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57201" y="1447800"/>
                        <a:ext cx="11353800" cy="5105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81318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cket Analysis – ICV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130451"/>
              </p:ext>
            </p:extLst>
          </p:nvPr>
        </p:nvGraphicFramePr>
        <p:xfrm>
          <a:off x="457200" y="1219640"/>
          <a:ext cx="11353799" cy="5601966"/>
        </p:xfrm>
        <a:graphic>
          <a:graphicData uri="http://schemas.openxmlformats.org/drawingml/2006/table">
            <a:tbl>
              <a:tblPr/>
              <a:tblGrid>
                <a:gridCol w="659985">
                  <a:extLst>
                    <a:ext uri="{9D8B030D-6E8A-4147-A177-3AD203B41FA5}">
                      <a16:colId xmlns:a16="http://schemas.microsoft.com/office/drawing/2014/main" val="1773602227"/>
                    </a:ext>
                  </a:extLst>
                </a:gridCol>
                <a:gridCol w="1484964">
                  <a:extLst>
                    <a:ext uri="{9D8B030D-6E8A-4147-A177-3AD203B41FA5}">
                      <a16:colId xmlns:a16="http://schemas.microsoft.com/office/drawing/2014/main" val="2809337786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116685530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3093282691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1243832932"/>
                    </a:ext>
                  </a:extLst>
                </a:gridCol>
                <a:gridCol w="1000289">
                  <a:extLst>
                    <a:ext uri="{9D8B030D-6E8A-4147-A177-3AD203B41FA5}">
                      <a16:colId xmlns:a16="http://schemas.microsoft.com/office/drawing/2014/main" val="1470615191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3066411247"/>
                    </a:ext>
                  </a:extLst>
                </a:gridCol>
                <a:gridCol w="742483">
                  <a:extLst>
                    <a:ext uri="{9D8B030D-6E8A-4147-A177-3AD203B41FA5}">
                      <a16:colId xmlns:a16="http://schemas.microsoft.com/office/drawing/2014/main" val="1757059499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1828652995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3179382723"/>
                    </a:ext>
                  </a:extLst>
                </a:gridCol>
                <a:gridCol w="742483">
                  <a:extLst>
                    <a:ext uri="{9D8B030D-6E8A-4147-A177-3AD203B41FA5}">
                      <a16:colId xmlns:a16="http://schemas.microsoft.com/office/drawing/2014/main" val="887294554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3728373385"/>
                    </a:ext>
                  </a:extLst>
                </a:gridCol>
                <a:gridCol w="783730">
                  <a:extLst>
                    <a:ext uri="{9D8B030D-6E8A-4147-A177-3AD203B41FA5}">
                      <a16:colId xmlns:a16="http://schemas.microsoft.com/office/drawing/2014/main" val="3162931115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3756468505"/>
                    </a:ext>
                  </a:extLst>
                </a:gridCol>
                <a:gridCol w="659985">
                  <a:extLst>
                    <a:ext uri="{9D8B030D-6E8A-4147-A177-3AD203B41FA5}">
                      <a16:colId xmlns:a16="http://schemas.microsoft.com/office/drawing/2014/main" val="2552860550"/>
                    </a:ext>
                  </a:extLst>
                </a:gridCol>
              </a:tblGrid>
              <a:tr h="183486">
                <a:tc gridSpan="15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'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0071863"/>
                  </a:ext>
                </a:extLst>
              </a:tr>
              <a:tr h="183486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 NO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V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 MS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C outlet wis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6703948"/>
                  </a:ext>
                </a:extLst>
              </a:tr>
              <a:tr h="1834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but not found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and Found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ayed Known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ught and Lost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5 [AL]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9796251"/>
                  </a:ext>
                </a:extLst>
              </a:tr>
              <a:tr h="3285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 LOY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 TOT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0119885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ME 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932415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MADHAVARAM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687075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ADAPPAI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143629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ELLOR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040351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ILLUPURAM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2418587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ONDY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948047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TV MALAI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999891"/>
                  </a:ext>
                </a:extLst>
              </a:tr>
              <a:tr h="183486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663493"/>
                  </a:ext>
                </a:extLst>
              </a:tr>
              <a:tr h="183486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396756"/>
                  </a:ext>
                </a:extLst>
              </a:tr>
              <a:tr h="174747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9347278"/>
                  </a:ext>
                </a:extLst>
              </a:tr>
              <a:tr h="174747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95033"/>
                  </a:ext>
                </a:extLst>
              </a:tr>
              <a:tr h="183486">
                <a:tc gridSpan="15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 Feb'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1866040"/>
                  </a:ext>
                </a:extLst>
              </a:tr>
              <a:tr h="183486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 NO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V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 MS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C outlet wis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3975414"/>
                  </a:ext>
                </a:extLst>
              </a:tr>
              <a:tr h="1834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but not found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and Found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ayed Known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ught and Lost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5 [AL]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2381365"/>
                  </a:ext>
                </a:extLst>
              </a:tr>
              <a:tr h="3285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 LOY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 TOT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421370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ME 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607639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MADHAVARAM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428815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ADAPPAI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731491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ELLOR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232304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ILLUPURAM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662045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ONDY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919001"/>
                  </a:ext>
                </a:extLst>
              </a:tr>
              <a:tr h="183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TV MALAI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417926"/>
                  </a:ext>
                </a:extLst>
              </a:tr>
              <a:tr h="183486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612226"/>
                  </a:ext>
                </a:extLst>
              </a:tr>
              <a:tr h="183486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8836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9356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5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5" id="{0FD1E945-0C04-4D29-98E2-341C4D14E449}" vid="{98A74680-365D-4711-A711-D2ADD621A207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5</Template>
  <TotalTime>22548</TotalTime>
  <Words>415</Words>
  <Application>Microsoft Office PowerPoint</Application>
  <PresentationFormat>Widescreen</PresentationFormat>
  <Paragraphs>30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Times New Roman</vt:lpstr>
      <vt:lpstr>Theme5</vt:lpstr>
      <vt:lpstr>Custom Design</vt:lpstr>
      <vt:lpstr>1_Custom Design</vt:lpstr>
      <vt:lpstr>2_Custom Design</vt:lpstr>
      <vt:lpstr>think-cell Slide</vt:lpstr>
      <vt:lpstr>Image</vt:lpstr>
      <vt:lpstr>Microsoft Excel Worksheet</vt:lpstr>
      <vt:lpstr>Business Review  AO – CHENNAI Feb’ 23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cket Analysis – ICV</vt:lpstr>
    </vt:vector>
  </TitlesOfParts>
  <Company>Ashokleyland L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Ashwin C ( Global Trucks)</cp:lastModifiedBy>
  <cp:revision>435</cp:revision>
  <dcterms:created xsi:type="dcterms:W3CDTF">2018-06-07T10:25:13Z</dcterms:created>
  <dcterms:modified xsi:type="dcterms:W3CDTF">2023-03-05T19:14:59Z</dcterms:modified>
</cp:coreProperties>
</file>